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2" r:id="rId14"/>
    <p:sldId id="286" r:id="rId15"/>
    <p:sldId id="276" r:id="rId16"/>
    <p:sldId id="277" r:id="rId17"/>
    <p:sldId id="278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6588" autoAdjust="0"/>
    <p:restoredTop sz="94660"/>
  </p:normalViewPr>
  <p:slideViewPr>
    <p:cSldViewPr showGuides="1">
      <p:cViewPr varScale="1">
        <p:scale>
          <a:sx n="134" d="100"/>
          <a:sy n="134" d="100"/>
        </p:scale>
        <p:origin x="-300" y="-78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804096"/>
        <c:axId val="214937984"/>
      </c:lineChart>
      <c:catAx>
        <c:axId val="20880409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4937984"/>
        <c:crosses val="autoZero"/>
        <c:auto val="1"/>
        <c:lblAlgn val="ctr"/>
        <c:lblOffset val="100"/>
        <c:noMultiLvlLbl val="0"/>
      </c:catAx>
      <c:valAx>
        <c:axId val="214937984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20880409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7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268760"/>
            <a:ext cx="648072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Reminder Arten, die der User innerhalb eines Zeitraums besitzt, ab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…}</a:t>
            </a:r>
            <a:endParaRPr lang="de-DE" sz="1000" dirty="0" smtClean="0"/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Reminder innerhalb eines Zeitraum und anhand einer bestimmten Art ab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rgbClr val="008000"/>
                </a:solidFill>
                <a:latin typeface="Consolas"/>
              </a:rPr>
              <a:t>//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Arte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Webservice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err="1" smtClean="0"/>
              <a:t>Konkatenieren</a:t>
            </a:r>
            <a:r>
              <a:rPr lang="de-DE" dirty="0" smtClean="0"/>
              <a:t> / Zusammenführen mit anderen Reminder Daten </a:t>
            </a:r>
          </a:p>
          <a:p>
            <a:pPr lvl="1"/>
            <a:r>
              <a:rPr lang="de-DE" dirty="0" smtClean="0"/>
              <a:t>       C# Befehl: </a:t>
            </a:r>
            <a:r>
              <a:rPr lang="de-DE" dirty="0" err="1" smtClean="0"/>
              <a:t>Concat</a:t>
            </a:r>
            <a:r>
              <a:rPr lang="de-DE" dirty="0" smtClean="0"/>
              <a:t>()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deo 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 bwMode="gray">
          <a:xfrm>
            <a:off x="7092280" y="980726"/>
            <a:ext cx="2016224" cy="4320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3086" name="Picture 14" descr="video, viewer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855946"/>
            <a:ext cx="681608" cy="68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ann jederzeit um Systeme erweitert werde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)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465750" lvl="1" indent="-285750"/>
            <a:r>
              <a:rPr lang="de-DE" dirty="0" smtClean="0"/>
              <a:t>Vide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18.12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79512" y="1196752"/>
            <a:ext cx="4032448" cy="17281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das Intranet Webportal 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 den Anwender abgestimmt (Reminder, die dem Anwender zugeordnet sind -&gt; hängt am NT-User. Anwender kann die App konfigurieren: Ein- oder ausgeblendet, Zeitraum Konfigurieren, wird in Datenbank gespeichert 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Teilprojekt des gesamten Webprotal-Projekts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21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Zeitlicher Verlust in Bezug auf die Kenntnisnahm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undenzufriedenheit schaff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Lizenzkosten etc.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/>
                <a:gridCol w="1380490"/>
                <a:gridCol w="1222375"/>
                <a:gridCol w="1365250"/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/>
                <a:gridCol w="3576228"/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525734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/>
                <a:gridCol w="4169234"/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8,8</a:t>
                      </a:r>
                      <a:r>
                        <a:rPr lang="de-DE" baseline="0" dirty="0" smtClean="0"/>
                        <a:t> + Einmalige Kosten – 1.506</a:t>
                      </a:r>
                      <a:r>
                        <a:rPr lang="de-DE" dirty="0" smtClean="0"/>
                        <a:t>€ = 1984,8 €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1908787648"/>
              </p:ext>
            </p:extLst>
          </p:nvPr>
        </p:nvGraphicFramePr>
        <p:xfrm>
          <a:off x="323528" y="1196752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25</Words>
  <Application>Microsoft Office PowerPoint</Application>
  <PresentationFormat>Bildschirmpräsentation (4:3)</PresentationFormat>
  <Paragraphs>382</Paragraphs>
  <Slides>20</Slides>
  <Notes>2</Notes>
  <HiddenSlides>2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Erweiterbarkeit</vt:lpstr>
      <vt:lpstr>Video </vt:lpstr>
      <vt:lpstr>Fazit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Grieger, Niklas</cp:lastModifiedBy>
  <cp:revision>107</cp:revision>
  <cp:lastPrinted>2013-03-21T16:05:01Z</cp:lastPrinted>
  <dcterms:created xsi:type="dcterms:W3CDTF">2017-11-30T08:55:34Z</dcterms:created>
  <dcterms:modified xsi:type="dcterms:W3CDTF">2017-12-18T15:41:07Z</dcterms:modified>
</cp:coreProperties>
</file>